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9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74" r:id="rId37"/>
    <p:sldId id="354" r:id="rId38"/>
  </p:sldIdLst>
  <p:sldSz cx="12192000" cy="6858000"/>
  <p:notesSz cx="6858000" cy="91440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74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1"/>
        <p:guide pos="3898"/>
        <p:guide pos="438"/>
        <p:guide orient="horz" pos="4125"/>
        <p:guide orient="horz" pos="1344"/>
        <p:guide pos="3774"/>
        <p:guide pos="7471"/>
        <p:guide pos="6600"/>
        <p:guide orient="horz" pos="672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9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4" Type="http://schemas.openxmlformats.org/officeDocument/2006/relationships/tags" Target="tags/tag79.xml"/><Relationship Id="rId43" Type="http://schemas.openxmlformats.org/officeDocument/2006/relationships/commentAuthors" Target="commentAuthors.xml"/><Relationship Id="rId42" Type="http://schemas.openxmlformats.org/officeDocument/2006/relationships/tableStyles" Target="tableStyles.xml"/><Relationship Id="rId41" Type="http://schemas.openxmlformats.org/officeDocument/2006/relationships/viewProps" Target="viewProps.xml"/><Relationship Id="rId40" Type="http://schemas.openxmlformats.org/officeDocument/2006/relationships/presProps" Target="presProps.xml"/><Relationship Id="rId4" Type="http://schemas.openxmlformats.org/officeDocument/2006/relationships/slide" Target="slides/slide2.xml"/><Relationship Id="rId39" Type="http://schemas.openxmlformats.org/officeDocument/2006/relationships/handoutMaster" Target="handoutMasters/handoutMaster1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99:$B$105</c:f>
              <c:numCache>
                <c:formatCode>General</c:formatCode>
                <c:ptCount val="7"/>
                <c:pt idx="0">
                  <c:v>3</c:v>
                </c:pt>
                <c:pt idx="1">
                  <c:v>4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99:$C$105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D$99:$D$10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9:$A$105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E$99:$E$105</c:f>
              <c:numCache>
                <c:formatCode>0%</c:formatCode>
                <c:ptCount val="7"/>
                <c:pt idx="0">
                  <c:v>0.5</c:v>
                </c:pt>
                <c:pt idx="1">
                  <c:v>0.666666666666667</c:v>
                </c:pt>
                <c:pt idx="2">
                  <c:v>-0.6</c:v>
                </c:pt>
                <c:pt idx="3">
                  <c:v>1.5</c:v>
                </c:pt>
                <c:pt idx="4">
                  <c:v>-0.8</c:v>
                </c:pt>
                <c:pt idx="5">
                  <c:v>1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b3086850-6fc4-431e-99c4-efb87a531b3a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22fcb623-75ae-4e3b-b6b2-7b65ecdbfa09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</c:formatCode>
                <c:ptCount val="51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  <c:pt idx="47">
                  <c:v>29.6666666666667</c:v>
                </c:pt>
                <c:pt idx="48">
                  <c:v>29.3877551020408</c:v>
                </c:pt>
                <c:pt idx="49">
                  <c:v>29.2</c:v>
                </c:pt>
                <c:pt idx="50">
                  <c:v>28.98039215686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8319248826291"/>
          <c:y val="0.187952898550725"/>
          <c:w val="0.801219344742289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  <c:pt idx="47" c:formatCode="0">
                  <c:v>4.14285714285714</c:v>
                </c:pt>
                <c:pt idx="48" c:formatCode="0">
                  <c:v>2.28571428571429</c:v>
                </c:pt>
                <c:pt idx="49" c:formatCode="0">
                  <c:v>2.85714285714286</c:v>
                </c:pt>
                <c:pt idx="50" c:formatCode="0">
                  <c:v>2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9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65609228550829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0.022471910112359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  <c:pt idx="47" c:formatCode="0.00%">
                  <c:v>0.0422535211267606</c:v>
                </c:pt>
                <c:pt idx="48" c:formatCode="0.00%">
                  <c:v>0.0027027027027027</c:v>
                </c:pt>
                <c:pt idx="49" c:formatCode="0.00%">
                  <c:v>0.00269541778975741</c:v>
                </c:pt>
                <c:pt idx="50" c:formatCode="0.00%">
                  <c:v>0.0053763440860215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875</c:v>
                </c:pt>
                <c:pt idx="48" c:formatCode="0.00%">
                  <c:v>-0.933333333333333</c:v>
                </c:pt>
                <c:pt idx="49" c:formatCode="0.00%">
                  <c:v>0</c:v>
                </c:pt>
                <c:pt idx="50" c:formatCode="0.00%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6f5c0e68-1a50-40ff-8ff0-6ac5d6d59562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  <c:pt idx="47">
                  <c:v>7.70833333333333</c:v>
                </c:pt>
                <c:pt idx="48">
                  <c:v>7.57142857142857</c:v>
                </c:pt>
                <c:pt idx="49">
                  <c:v>7.44</c:v>
                </c:pt>
                <c:pt idx="50">
                  <c:v>7.333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  <c:pt idx="47" c:formatCode="0">
                  <c:v>2.14285714285714</c:v>
                </c:pt>
                <c:pt idx="48" c:formatCode="0">
                  <c:v>0.142857142857143</c:v>
                </c:pt>
                <c:pt idx="49" c:formatCode="0">
                  <c:v>0.142857142857143</c:v>
                </c:pt>
                <c:pt idx="50" c:formatCode="0">
                  <c:v>0.2857142857142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2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59490084985835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2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3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8.7</c:v>
                </c:pt>
                <c:pt idx="1">
                  <c:v>2</c:v>
                </c:pt>
                <c:pt idx="2">
                  <c:v>2</c:v>
                </c:pt>
                <c:pt idx="3">
                  <c:v>5.5</c:v>
                </c:pt>
                <c:pt idx="4">
                  <c:v>0.3</c:v>
                </c:pt>
                <c:pt idx="5">
                  <c:v>0.8</c:v>
                </c:pt>
                <c:pt idx="6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100:$C$106</c:f>
              <c:numCache>
                <c:formatCode>0%</c:formatCode>
                <c:ptCount val="7"/>
                <c:pt idx="0">
                  <c:v>1.80645161290323</c:v>
                </c:pt>
                <c:pt idx="1">
                  <c:v>-0.770114942528736</c:v>
                </c:pt>
                <c:pt idx="2">
                  <c:v>0</c:v>
                </c:pt>
                <c:pt idx="3">
                  <c:v>1.75</c:v>
                </c:pt>
                <c:pt idx="4">
                  <c:v>-0.945454545454545</c:v>
                </c:pt>
                <c:pt idx="5">
                  <c:v>1.66666666666667</c:v>
                </c:pt>
                <c:pt idx="6">
                  <c:v>-0.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2:$B$98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2:$C$9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D$92:$D$9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2:$A$98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E$92:$E$98</c:f>
              <c:numCache>
                <c:formatCode>0%</c:formatCode>
                <c:ptCount val="7"/>
                <c:pt idx="0">
                  <c:v>0.333333333333333</c:v>
                </c:pt>
                <c:pt idx="1">
                  <c:v>0</c:v>
                </c:pt>
                <c:pt idx="2">
                  <c:v>-0.75</c:v>
                </c:pt>
                <c:pt idx="3">
                  <c:v>-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2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.5</c:v>
                </c:pt>
                <c:pt idx="1">
                  <c:v>0.9</c:v>
                </c:pt>
                <c:pt idx="2">
                  <c:v>0.4</c:v>
                </c:pt>
                <c:pt idx="3">
                  <c:v>0.5</c:v>
                </c:pt>
                <c:pt idx="4">
                  <c:v>0.7</c:v>
                </c:pt>
                <c:pt idx="5">
                  <c:v>1</c:v>
                </c:pt>
                <c:pt idx="6">
                  <c:v>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3:$C$99</c:f>
              <c:numCache>
                <c:formatCode>0%</c:formatCode>
                <c:ptCount val="7"/>
                <c:pt idx="0">
                  <c:v>-0.0789473684210526</c:v>
                </c:pt>
                <c:pt idx="1">
                  <c:v>-0.742857142857143</c:v>
                </c:pt>
                <c:pt idx="2">
                  <c:v>-0.555555555555556</c:v>
                </c:pt>
                <c:pt idx="3">
                  <c:v>0.25</c:v>
                </c:pt>
                <c:pt idx="4">
                  <c:v>0.4</c:v>
                </c:pt>
                <c:pt idx="5">
                  <c:v>0.428571428571429</c:v>
                </c:pt>
                <c:pt idx="6">
                  <c:v>2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  <c:pt idx="47" c:formatCode="0.00%">
                  <c:v>0.0336031770276463</c:v>
                </c:pt>
                <c:pt idx="48" c:formatCode="0.00%">
                  <c:v>0.0289640904388946</c:v>
                </c:pt>
                <c:pt idx="49" c:formatCode="0.00%">
                  <c:v>0.0145052419933937</c:v>
                </c:pt>
                <c:pt idx="50" c:formatCode="0.00%">
                  <c:v>0.02817100792751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  <c:pt idx="47" c:formatCode="0.00%">
                  <c:v>-0.725</c:v>
                </c:pt>
                <c:pt idx="48" c:formatCode="0.00%">
                  <c:v>-0.109090909090909</c:v>
                </c:pt>
                <c:pt idx="49" c:formatCode="0.00%">
                  <c:v>-0.48469387755102</c:v>
                </c:pt>
                <c:pt idx="50" c:formatCode="0.00%">
                  <c:v>0.9702970297029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.00</c:formatCode>
                <c:ptCount val="51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  <c:pt idx="47">
                  <c:v>14.0979166666667</c:v>
                </c:pt>
                <c:pt idx="48">
                  <c:v>14.2102040816327</c:v>
                </c:pt>
                <c:pt idx="49">
                  <c:v>14.128</c:v>
                </c:pt>
                <c:pt idx="50">
                  <c:v>14.241176470588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.00</c:formatCode>
                <c:ptCount val="51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  <c:pt idx="47">
                  <c:v>3.14285714285714</c:v>
                </c:pt>
                <c:pt idx="48">
                  <c:v>2.8</c:v>
                </c:pt>
                <c:pt idx="49">
                  <c:v>1.44285714285714</c:v>
                </c:pt>
                <c:pt idx="50">
                  <c:v>2.8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73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11327406499080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23735810113519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3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05072463768116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C$93:$C$9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D$93:$D$9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yyyy/m/d</c:formatCode>
                <c:ptCount val="7"/>
                <c:pt idx="0" c:formatCode="yyyy/m/d">
                  <c:v>43913</c:v>
                </c:pt>
                <c:pt idx="1" c:formatCode="yyyy/m/d">
                  <c:v>43914</c:v>
                </c:pt>
                <c:pt idx="2" c:formatCode="yyyy/m/d">
                  <c:v>43915</c:v>
                </c:pt>
                <c:pt idx="3" c:formatCode="yyyy/m/d">
                  <c:v>43916</c:v>
                </c:pt>
                <c:pt idx="4" c:formatCode="yyyy/m/d">
                  <c:v>43917</c:v>
                </c:pt>
                <c:pt idx="5" c:formatCode="yyyy/m/d">
                  <c:v>43918</c:v>
                </c:pt>
                <c:pt idx="6" c:formatCode="yyyy/m/d">
                  <c:v>43919</c:v>
                </c:pt>
              </c:numCache>
            </c:numRef>
          </c:cat>
          <c:val>
            <c:numRef>
              <c:f>Sheet1!$E$93:$E$99</c:f>
              <c:numCache>
                <c:formatCode>0%</c:formatCode>
                <c:ptCount val="7"/>
                <c:pt idx="0">
                  <c:v>0.0392156862745098</c:v>
                </c:pt>
                <c:pt idx="1">
                  <c:v>-0.0555555555555556</c:v>
                </c:pt>
                <c:pt idx="2">
                  <c:v>0.037037037037037</c:v>
                </c:pt>
                <c:pt idx="3">
                  <c:v>-0.0357142857142857</c:v>
                </c:pt>
                <c:pt idx="4">
                  <c:v>0.0535714285714286</c:v>
                </c:pt>
                <c:pt idx="5">
                  <c:v>-0.0338983050847458</c:v>
                </c:pt>
                <c:pt idx="6">
                  <c:v>-0.0166666666666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2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B$86:$B$92</c:f>
              <c:numCache>
                <c:formatCode>General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C$86:$C$9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D$86:$D$9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86:$A$92</c:f>
              <c:numCache>
                <c:formatCode>yyyy/m/d</c:formatCode>
                <c:ptCount val="7"/>
                <c:pt idx="0" c:formatCode="yyyy/m/d">
                  <c:v>43906</c:v>
                </c:pt>
                <c:pt idx="1" c:formatCode="yyyy/m/d">
                  <c:v>43907</c:v>
                </c:pt>
                <c:pt idx="2" c:formatCode="yyyy/m/d">
                  <c:v>43908</c:v>
                </c:pt>
                <c:pt idx="3" c:formatCode="yyyy/m/d">
                  <c:v>43909</c:v>
                </c:pt>
                <c:pt idx="4" c:formatCode="yyyy/m/d">
                  <c:v>43910</c:v>
                </c:pt>
                <c:pt idx="5" c:formatCode="yyyy/m/d">
                  <c:v>43911</c:v>
                </c:pt>
                <c:pt idx="6" c:formatCode="yyyy/m/d">
                  <c:v>43912</c:v>
                </c:pt>
              </c:numCache>
            </c:numRef>
          </c:cat>
          <c:val>
            <c:numRef>
              <c:f>Sheet1!$E$86:$E$92</c:f>
              <c:numCache>
                <c:formatCode>0%</c:formatCode>
                <c:ptCount val="7"/>
                <c:pt idx="0">
                  <c:v>0.0208333333333333</c:v>
                </c:pt>
                <c:pt idx="1">
                  <c:v>-0.0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E$2:$E$52</c:f>
              <c:numCache>
                <c:formatCode>0.00%</c:formatCode>
                <c:ptCount val="51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  <c:pt idx="47">
                  <c:v>0.0108303249097473</c:v>
                </c:pt>
                <c:pt idx="48">
                  <c:v>0.0125</c:v>
                </c:pt>
                <c:pt idx="49">
                  <c:v>0.0017636684303351</c:v>
                </c:pt>
                <c:pt idx="50">
                  <c:v>0.0158450704225352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F$2:$F$52</c:f>
              <c:numCache>
                <c:formatCode>0.00%</c:formatCode>
                <c:ptCount val="51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  <c:pt idx="47">
                  <c:v>-0.454545454545455</c:v>
                </c:pt>
                <c:pt idx="48">
                  <c:v>0.166666666666667</c:v>
                </c:pt>
                <c:pt idx="49">
                  <c:v>-0.857142857142857</c:v>
                </c:pt>
                <c:pt idx="50">
                  <c:v>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</c:formatCode>
                <c:ptCount val="51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  <c:pt idx="47">
                  <c:v>11.6666666666667</c:v>
                </c:pt>
                <c:pt idx="48">
                  <c:v>11.5714285714286</c:v>
                </c:pt>
                <c:pt idx="49">
                  <c:v>11.36</c:v>
                </c:pt>
                <c:pt idx="50">
                  <c:v>11.31372549019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.0</c:formatCode>
                <c:ptCount val="51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428571428571429</c:v>
                </c:pt>
                <c:pt idx="48">
                  <c:v>0.857142857142857</c:v>
                </c:pt>
                <c:pt idx="49">
                  <c:v>0.142857142857143</c:v>
                </c:pt>
                <c:pt idx="50">
                  <c:v>0.857142857142857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F$2:$F$52</c:f>
              <c:numCache>
                <c:formatCode>0.0</c:formatCode>
                <c:ptCount val="51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  <c:pt idx="47">
                  <c:v>0.14285714285714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.0</c:formatCode>
                <c:ptCount val="51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  <c:pt idx="47">
                  <c:v>0.285714285714286</c:v>
                </c:pt>
                <c:pt idx="48">
                  <c:v>0.142857142857143</c:v>
                </c:pt>
                <c:pt idx="49">
                  <c:v>0</c:v>
                </c:pt>
                <c:pt idx="50">
                  <c:v>0.4285714285714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H$2:$H$52</c:f>
              <c:numCache>
                <c:formatCode>0</c:formatCode>
                <c:ptCount val="51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857142857142857</c:v>
                </c:pt>
                <c:pt idx="48">
                  <c:v>1</c:v>
                </c:pt>
                <c:pt idx="49">
                  <c:v>0.142857142857143</c:v>
                </c:pt>
                <c:pt idx="50">
                  <c:v>1.285714285714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11</c:v>
                </c:pt>
                <c:pt idx="50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E$2:$E$52</c:f>
              <c:numCache>
                <c:formatCode>0.00%</c:formatCode>
                <c:ptCount val="51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569948186528497</c:v>
                </c:pt>
                <c:pt idx="47">
                  <c:v>0.102702702702703</c:v>
                </c:pt>
                <c:pt idx="48">
                  <c:v>0.110526315789474</c:v>
                </c:pt>
                <c:pt idx="49">
                  <c:v>0.0653266331658292</c:v>
                </c:pt>
                <c:pt idx="50">
                  <c:v>0.096256684491978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F$2:$F$52</c:f>
              <c:numCache>
                <c:formatCode>0.00%</c:formatCode>
                <c:ptCount val="51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352941176470588</c:v>
                </c:pt>
                <c:pt idx="47">
                  <c:v>0.727272727272727</c:v>
                </c:pt>
                <c:pt idx="48">
                  <c:v>0.105263157894737</c:v>
                </c:pt>
                <c:pt idx="49">
                  <c:v>-0.380952380952381</c:v>
                </c:pt>
                <c:pt idx="50">
                  <c:v>0.38461538461538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1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561b02b-9a30-4613-8b37-6bb47052de88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dc97ee33-c401-4c95-b0ad-ee70292506fc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1769729c-7739-4389-8581-0d32543f35ba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727e7bd2-e925-497c-b0fb-48bf72e84b2b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47186932849364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0.6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48</c:v>
                </c:pt>
                <c:pt idx="1">
                  <c:v>101</c:v>
                </c:pt>
                <c:pt idx="2">
                  <c:v>1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E$2:$E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F$2:$F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G$2:$G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H$2:$H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F$2:$F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</c:formatCode>
                <c:ptCount val="51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  <c:pt idx="47">
                  <c:v>0.604166666666667</c:v>
                </c:pt>
                <c:pt idx="48">
                  <c:v>0.591836734693878</c:v>
                </c:pt>
                <c:pt idx="49">
                  <c:v>0.58</c:v>
                </c:pt>
                <c:pt idx="50">
                  <c:v>0.56862745098039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.00</c:formatCode>
                <c:ptCount val="51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H$2:$H$52</c:f>
              <c:numCache>
                <c:formatCode>0.00</c:formatCode>
                <c:ptCount val="51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I$2:$I$52</c:f>
              <c:numCache>
                <c:formatCode>0.00</c:formatCode>
                <c:ptCount val="51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J$2:$J$52</c:f>
              <c:numCache>
                <c:formatCode>0.00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K$2:$K$52</c:f>
              <c:numCache>
                <c:formatCode>0.00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L$2:$L$52</c:f>
              <c:numCache>
                <c:formatCode>0.00</c:formatCode>
                <c:ptCount val="51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H$2:$H$13</c:f>
              <c:numCache>
                <c:formatCode>General</c:formatCode>
                <c:ptCount val="12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  <c:pt idx="47" c:formatCode="0.00%">
                  <c:v>0.0422535211267606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5</c:v>
                </c:pt>
                <c:pt idx="48" c:formatCode="0.00%">
                  <c:v>-1</c:v>
                </c:pt>
                <c:pt idx="49" c:formatCode="0.00%">
                  <c:v>0</c:v>
                </c:pt>
                <c:pt idx="50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</c:formatCode>
                <c:ptCount val="51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  <c:pt idx="47">
                  <c:v>1.54166666666667</c:v>
                </c:pt>
                <c:pt idx="48">
                  <c:v>1.51020408163265</c:v>
                </c:pt>
                <c:pt idx="49">
                  <c:v>1.48</c:v>
                </c:pt>
                <c:pt idx="50">
                  <c:v>1.450980392156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0.00</c:formatCode>
                <c:ptCount val="51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  <c:pt idx="47">
                  <c:v>0.428571428571429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57142857142857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637055931389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9</c:v>
                </c:pt>
                <c:pt idx="50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D$2:$D$52</c:f>
              <c:numCache>
                <c:formatCode>General</c:formatCode>
                <c:ptCount val="51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</c:formatCode>
                <c:ptCount val="51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531914893617</c:v>
                </c:pt>
                <c:pt idx="47">
                  <c:v>25.3958333333333</c:v>
                </c:pt>
                <c:pt idx="48">
                  <c:v>25.3061224489796</c:v>
                </c:pt>
                <c:pt idx="49">
                  <c:v>25.02</c:v>
                </c:pt>
                <c:pt idx="50">
                  <c:v>24.88235294117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4177207337489"/>
          <c:y val="0.152993098031772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E$2:$E$52</c:f>
              <c:numCache>
                <c:formatCode>0</c:formatCode>
                <c:ptCount val="51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1.28571428571429</c:v>
                </c:pt>
                <c:pt idx="47">
                  <c:v>2.14285714285714</c:v>
                </c:pt>
                <c:pt idx="48">
                  <c:v>2.85714285714286</c:v>
                </c:pt>
                <c:pt idx="49">
                  <c:v>1.28571428571429</c:v>
                </c:pt>
                <c:pt idx="50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F$2:$F$52</c:f>
              <c:numCache>
                <c:formatCode>General</c:formatCode>
                <c:ptCount val="51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285714285714286</c:v>
                </c:pt>
                <c:pt idx="47" c:formatCode="0">
                  <c:v>0.571428571428571</c:v>
                </c:pt>
                <c:pt idx="48" c:formatCode="0">
                  <c:v>0.142857142857143</c:v>
                </c:pt>
                <c:pt idx="49" c:formatCode="0">
                  <c:v>0.285714285714286</c:v>
                </c:pt>
                <c:pt idx="50" c:formatCode="0">
                  <c:v>0.571428571428571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G$2:$G$52</c:f>
              <c:numCache>
                <c:formatCode>0</c:formatCode>
                <c:ptCount val="51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</c:strCache>
            </c:strRef>
          </c:cat>
          <c:val>
            <c:numRef>
              <c:f>Sheet1!$H$2:$H$52</c:f>
              <c:numCache>
                <c:formatCode>0</c:formatCode>
                <c:ptCount val="51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.57142857142857</c:v>
                </c:pt>
                <c:pt idx="47">
                  <c:v>2.71428571428571</c:v>
                </c:pt>
                <c:pt idx="48">
                  <c:v>3</c:v>
                </c:pt>
                <c:pt idx="49">
                  <c:v>1.57142857142857</c:v>
                </c:pt>
                <c:pt idx="50">
                  <c:v>2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  <c:pt idx="11">
                  <c:v>6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  <c:pt idx="11">
                  <c:v>1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E$2:$E$13</c:f>
              <c:numCache>
                <c:formatCode>0%</c:formatCode>
                <c:ptCount val="12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  <c:pt idx="11">
                  <c:v>1.3888888888888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F$2:$F$13</c:f>
              <c:numCache>
                <c:formatCode>0%</c:formatCode>
                <c:ptCount val="12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  <c:pt idx="11">
                  <c:v>0.38888888888888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3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m/d;@</c:formatCode>
                <c:ptCount val="7"/>
                <c:pt idx="0" c:formatCode="m/d;@">
                  <c:v>43913</c:v>
                </c:pt>
                <c:pt idx="1" c:formatCode="m/d;@">
                  <c:v>43914</c:v>
                </c:pt>
                <c:pt idx="2" c:formatCode="m/d;@">
                  <c:v>43915</c:v>
                </c:pt>
                <c:pt idx="3" c:formatCode="m/d;@">
                  <c:v>43916</c:v>
                </c:pt>
                <c:pt idx="4" c:formatCode="m/d;@">
                  <c:v>43917</c:v>
                </c:pt>
                <c:pt idx="5" c:formatCode="m/d;@">
                  <c:v>43918</c:v>
                </c:pt>
                <c:pt idx="6" c:formatCode="m/d;@">
                  <c:v>43919</c:v>
                </c:pt>
              </c:numCache>
            </c:numRef>
          </c:cat>
          <c:val>
            <c:numRef>
              <c:f>Sheet1!$C$100:$C$106</c:f>
              <c:numCache>
                <c:formatCode>0%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-0.75</c:v>
                </c:pt>
                <c:pt idx="4">
                  <c:v>1</c:v>
                </c:pt>
                <c:pt idx="5">
                  <c:v>0.5</c:v>
                </c:pt>
                <c:pt idx="6">
                  <c:v>-0.33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2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B$93:$B$99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5</c:v>
                </c:pt>
                <c:pt idx="3">
                  <c:v>1</c:v>
                </c:pt>
                <c:pt idx="4">
                  <c:v>2</c:v>
                </c:pt>
                <c:pt idx="5">
                  <c:v>4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99</c:f>
              <c:numCache>
                <c:formatCode>m/d;@</c:formatCode>
                <c:ptCount val="7"/>
                <c:pt idx="0" c:formatCode="m/d;@">
                  <c:v>43906</c:v>
                </c:pt>
                <c:pt idx="1" c:formatCode="m/d;@">
                  <c:v>43907</c:v>
                </c:pt>
                <c:pt idx="2" c:formatCode="m/d;@">
                  <c:v>43908</c:v>
                </c:pt>
                <c:pt idx="3" c:formatCode="m/d;@">
                  <c:v>43909</c:v>
                </c:pt>
                <c:pt idx="4" c:formatCode="m/d;@">
                  <c:v>43910</c:v>
                </c:pt>
                <c:pt idx="5" c:formatCode="m/d;@">
                  <c:v>43911</c:v>
                </c:pt>
                <c:pt idx="6" c:formatCode="m/d;@">
                  <c:v>43912</c:v>
                </c:pt>
              </c:numCache>
            </c:numRef>
          </c:cat>
          <c:val>
            <c:numRef>
              <c:f>Sheet1!$C$93:$C$99</c:f>
              <c:numCache>
                <c:formatCode>0%</c:formatCode>
                <c:ptCount val="7"/>
                <c:pt idx="0">
                  <c:v>2</c:v>
                </c:pt>
                <c:pt idx="1">
                  <c:v>0</c:v>
                </c:pt>
                <c:pt idx="2">
                  <c:v>0.666666666666667</c:v>
                </c:pt>
                <c:pt idx="3">
                  <c:v>-0.8</c:v>
                </c:pt>
                <c:pt idx="4">
                  <c:v>1</c:v>
                </c:pt>
                <c:pt idx="5">
                  <c:v>1</c:v>
                </c:pt>
                <c:pt idx="6">
                  <c:v>-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289988899343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C$2:$C$52</c:f>
              <c:numCache>
                <c:formatCode>0%</c:formatCode>
                <c:ptCount val="51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  <c:pt idx="47" c:formatCode="0.00%">
                  <c:v>0.0207885304659498</c:v>
                </c:pt>
                <c:pt idx="48" c:formatCode="0.00%">
                  <c:v>0.0112359550561798</c:v>
                </c:pt>
                <c:pt idx="49" c:formatCode="0.00%">
                  <c:v>0.0138888888888889</c:v>
                </c:pt>
                <c:pt idx="50" c:formatCode="0.00%">
                  <c:v>0.012328767123287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2</c:f>
              <c:strCache>
                <c:ptCount val="5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</c:strCache>
            </c:strRef>
          </c:cat>
          <c:val>
            <c:numRef>
              <c:f>Sheet1!$D$2:$D$52</c:f>
              <c:numCache>
                <c:formatCode>0%</c:formatCode>
                <c:ptCount val="51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  <c:pt idx="47" c:formatCode="0.00%">
                  <c:v>0.0357142857142857</c:v>
                </c:pt>
                <c:pt idx="48" c:formatCode="0.00%">
                  <c:v>-0.448275862068966</c:v>
                </c:pt>
                <c:pt idx="49" c:formatCode="0.00%">
                  <c:v>0.25</c:v>
                </c:pt>
                <c:pt idx="50" c:formatCode="0.00%">
                  <c:v>-0.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2" Type="http://schemas.openxmlformats.org/officeDocument/2006/relationships/chart" Target="../charts/chart14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7.xml"/><Relationship Id="rId1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20.xml"/><Relationship Id="rId1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3.xml"/><Relationship Id="rId1" Type="http://schemas.openxmlformats.org/officeDocument/2006/relationships/chart" Target="../charts/chart22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4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4.xml"/><Relationship Id="rId1" Type="http://schemas.openxmlformats.org/officeDocument/2006/relationships/chart" Target="../charts/chart33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5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8.xml"/><Relationship Id="rId1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9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70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3.xml"/></Relationships>
</file>

<file path=ppt/slides/_rels/slide3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5.bin"/><Relationship Id="rId1" Type="http://schemas.openxmlformats.org/officeDocument/2006/relationships/tags" Target="../tags/tag76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13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M</a:t>
            </a:r>
            <a:r>
              <a:rPr lang="en-US" altLang="en-GB" dirty="0"/>
              <a:t>ar</a:t>
            </a:r>
            <a:r>
              <a:rPr lang="en-US" altLang="zh-CN" dirty="0"/>
              <a:t> 30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41985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" name="图表 3"/>
          <p:cNvGraphicFramePr/>
          <p:nvPr/>
        </p:nvGraphicFramePr>
        <p:xfrm>
          <a:off x="5965940" y="216916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13 vs. CW12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13 vs. CW12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13 vs. CW12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13 vs. CW12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13 vs. CW12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13 vs. CW12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13 vs. CW12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13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13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13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13 vs. CW12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Chart 7"/>
          <p:cNvGraphicFramePr/>
          <p:nvPr/>
        </p:nvGraphicFramePr>
        <p:xfrm>
          <a:off x="6555105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13 vs. CW12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3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764286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2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Ma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13 vs. CW12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7647305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1748790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3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2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12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8.46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1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.6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73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7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9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3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.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.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7.0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26.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.2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8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8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9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sym typeface="+mn-ea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4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3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13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3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4" y="1341438"/>
          <a:ext cx="11339830" cy="530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51355"/>
                <a:gridCol w="1899285"/>
                <a:gridCol w="1544320"/>
                <a:gridCol w="1543685"/>
                <a:gridCol w="2007235"/>
                <a:gridCol w="1313180"/>
                <a:gridCol w="1080770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AbnormalReplicationSta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2020/3/27 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5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21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GMT+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关系型数据库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复制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2392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FaultyDBlnst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5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34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AbnormalReplicationSta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5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FaultyDBlnst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3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1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6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3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4" y="1341438"/>
          <a:ext cx="11339830" cy="530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9435"/>
                <a:gridCol w="2021205"/>
                <a:gridCol w="1544320"/>
                <a:gridCol w="1543685"/>
                <a:gridCol w="2007235"/>
                <a:gridCol w="1313180"/>
                <a:gridCol w="1080770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6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23925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8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ReolicationStatus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 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8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复制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DBlinstance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2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6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DBlinstanceRecov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3/27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9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24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49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关系型数据库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实例运行状态异常已恢复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13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6034" y="90805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3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3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650144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90335" y="5648766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2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2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47483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95440" y="147955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13 vs. CW1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43602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KSO_WM_UNIT_TABLE_BEAUTIFY" val="smartTable{a7b48daa-640c-4a45-8ea6-4a11ea6a042d}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hinkcellActiveDocDoNotDelete"/>
</p:tagLst>
</file>

<file path=ppt/tags/tag71.xml><?xml version="1.0" encoding="utf-8"?>
<p:tagLst xmlns:p="http://schemas.openxmlformats.org/presentationml/2006/main">
  <p:tag name="THINKCELLSHAPEDONOTDELETE" val="tAqrdWBk6QOqdh7N2Sulvng"/>
</p:tagLst>
</file>

<file path=ppt/tags/tag72.xml><?xml version="1.0" encoding="utf-8"?>
<p:tagLst xmlns:p="http://schemas.openxmlformats.org/presentationml/2006/main">
  <p:tag name="KSO_WM_UNIT_TABLE_BEAUTIFY" val="smartTable{a37833e2-7a5c-4f0d-94aa-47f774f57f94}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tAqrdWBk6QOqdh7N2Sulvng"/>
</p:tagLst>
</file>

<file path=ppt/tags/tag75.xml><?xml version="1.0" encoding="utf-8"?>
<p:tagLst xmlns:p="http://schemas.openxmlformats.org/presentationml/2006/main">
  <p:tag name="KSO_WM_UNIT_TABLE_BEAUTIFY" val="smartTable{a37833e2-7a5c-4f0d-94aa-47f774f57f94}"/>
</p:tagLst>
</file>

<file path=ppt/tags/tag76.xml><?xml version="1.0" encoding="utf-8"?>
<p:tagLst xmlns:p="http://schemas.openxmlformats.org/presentationml/2006/main">
  <p:tag name="THINKCELLSHAPEDONOTDELETE" val="thinkcellActiveDocDoNotDelete"/>
</p:tagLst>
</file>

<file path=ppt/tags/tag77.xml><?xml version="1.0" encoding="utf-8"?>
<p:tagLst xmlns:p="http://schemas.openxmlformats.org/presentationml/2006/main">
  <p:tag name="THINKCELLSHAPEDONOTDELETE" val="tAqrdWBk6QOqdh7N2Sulvng"/>
</p:tagLst>
</file>

<file path=ppt/tags/tag78.xml><?xml version="1.0" encoding="utf-8"?>
<p:tagLst xmlns:p="http://schemas.openxmlformats.org/presentationml/2006/main">
  <p:tag name="KSO_WM_UNIT_TABLE_BEAUTIFY" val="smartTable{dfb63ea6-2e9e-4201-988a-f90fc0aa7d9f}"/>
</p:tagLst>
</file>

<file path=ppt/tags/tag79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787</Words>
  <Application>WPS 演示</Application>
  <PresentationFormat>宽屏</PresentationFormat>
  <Paragraphs>887</Paragraphs>
  <Slides>3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5</vt:i4>
      </vt:variant>
      <vt:variant>
        <vt:lpstr>幻灯片标题</vt:lpstr>
      </vt:variant>
      <vt:variant>
        <vt:i4>35</vt:i4>
      </vt:variant>
    </vt:vector>
  </HeadingPairs>
  <TitlesOfParts>
    <vt:vector size="86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13, 2020)   Mar 30,2020 </vt:lpstr>
      <vt:lpstr>Content</vt:lpstr>
      <vt:lpstr>Data summary  </vt:lpstr>
      <vt:lpstr>Daily downloads CW13 vs. CW12</vt:lpstr>
      <vt:lpstr>Weekly downloads since go live</vt:lpstr>
      <vt:lpstr>Average weekly downloads &amp; average daily downloads</vt:lpstr>
      <vt:lpstr>Monthly downloads since go live </vt:lpstr>
      <vt:lpstr>Daily active users CW13 vs. CW12</vt:lpstr>
      <vt:lpstr>Weekly active users since go live </vt:lpstr>
      <vt:lpstr>Average weekly active users &amp; average daily active users </vt:lpstr>
      <vt:lpstr>Monthly actives users since go live</vt:lpstr>
      <vt:lpstr>Daily journeys CW13 vs. CW12</vt:lpstr>
      <vt:lpstr>Weekly journeys since go live </vt:lpstr>
      <vt:lpstr>Average weekly journeys &amp; average daily journeys</vt:lpstr>
      <vt:lpstr>Monthly journeys since go live</vt:lpstr>
      <vt:lpstr>Daily running time CW13 vs. CW12</vt:lpstr>
      <vt:lpstr>Weekly running time since go live </vt:lpstr>
      <vt:lpstr>Average weekly running time &amp; average daily running time</vt:lpstr>
      <vt:lpstr>Monthly running time since go live </vt:lpstr>
      <vt:lpstr>User activities CW13 vs. CW12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13 vs. CW12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13 vs. CW12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13</vt:lpstr>
      <vt:lpstr>Log &amp; alert review report of CW13  </vt:lpstr>
      <vt:lpstr>Log &amp; alert review report of CW13  </vt:lpstr>
      <vt:lpstr>SLA report of CW13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兔八哥</cp:lastModifiedBy>
  <cp:revision>1311</cp:revision>
  <dcterms:created xsi:type="dcterms:W3CDTF">2019-06-18T08:03:00Z</dcterms:created>
  <dcterms:modified xsi:type="dcterms:W3CDTF">2020-04-07T07:0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64</vt:lpwstr>
  </property>
</Properties>
</file>